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4" r:id="rId4"/>
    <p:sldMasterId id="2147483688" r:id="rId5"/>
    <p:sldMasterId id="2147483774" r:id="rId6"/>
  </p:sldMasterIdLst>
  <p:notesMasterIdLst>
    <p:notesMasterId r:id="rId10"/>
  </p:notesMasterIdLst>
  <p:handoutMasterIdLst>
    <p:handoutMasterId r:id="rId11"/>
  </p:handoutMasterIdLst>
  <p:sldIdLst>
    <p:sldId id="2147478484" r:id="rId7"/>
    <p:sldId id="2147478480" r:id="rId8"/>
    <p:sldId id="2147478445" r:id="rId9"/>
  </p:sldIdLst>
  <p:sldSz cx="12192000" cy="6858000"/>
  <p:notesSz cx="6858000" cy="9144000"/>
  <p:custDataLst>
    <p:tags r:id="rId12"/>
  </p:custDataLst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16F4CD8-F122-31B9-7A8A-9A01F106891B}" name="Dürmeyer, Felix" initials="DF" userId="S::felix.duermeyer@senacor.com::e681a03b-95e4-4ec6-8dc1-70ae960b340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40FF"/>
    <a:srgbClr val="FF79FF"/>
    <a:srgbClr val="7192C7"/>
    <a:srgbClr val="000000"/>
    <a:srgbClr val="323232"/>
    <a:srgbClr val="F6C111"/>
    <a:srgbClr val="929292"/>
    <a:srgbClr val="EEC345"/>
    <a:srgbClr val="373737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D1A85ED-03E8-4364-9102-23CA553AD1D8}" v="22" dt="2025-03-15T16:12:38.7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 autoAdjust="0"/>
    <p:restoredTop sz="95510" autoAdjust="0"/>
  </p:normalViewPr>
  <p:slideViewPr>
    <p:cSldViewPr snapToGrid="0">
      <p:cViewPr varScale="1">
        <p:scale>
          <a:sx n="122" d="100"/>
          <a:sy n="122" d="100"/>
        </p:scale>
        <p:origin x="744" y="20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ags" Target="tags/tag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10DCB21-F4D3-D1D4-CF0D-BF78D59D28E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A16866-EFD6-68E7-47B7-8B090D93883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225DF0-5E4A-495E-AD8C-CC8FDC636079}" type="datetimeFigureOut">
              <a:rPr lang="de-DE" smtClean="0"/>
              <a:t>03.06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A00D9FC-B05C-D34D-37E7-C6467BDC567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E790B14-F39F-A965-0690-1D65B64684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1E73CE-A8F7-4FAA-8263-09231EA4F75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9260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5B1B49-9609-4E63-A375-FC459FA5B93F}" type="datetimeFigureOut">
              <a:rPr lang="de-DE" smtClean="0"/>
              <a:t>03.06.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E535FA-94A6-4DEF-8F84-D811EAB89C6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2307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7E535FA-94A6-4DEF-8F84-D811EAB89C69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3032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EE8CDA-6DB7-8B81-5FEF-3AACF7F30D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15FE32B-6B2D-B369-206C-0F3EB220E5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5CF55A-E56F-AD3D-D273-7D7FA8B685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A5EDEB-570F-8264-EF00-3BDAF68A83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46A707-4D64-6B6D-518D-F701324A8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504390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11" name="Rechteck: abgerundete Ecken 11">
            <a:extLst>
              <a:ext uri="{FF2B5EF4-FFF2-40B4-BE49-F238E27FC236}">
                <a16:creationId xmlns:a16="http://schemas.microsoft.com/office/drawing/2014/main" id="{2EBA78E4-D79A-89F2-769D-5FEF9B171A34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3162469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ERFAHRUNGEN (AUSZUG)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7318" y="1224000"/>
            <a:ext cx="2268000" cy="2268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2570A174-E936-064E-B6EF-61EC5246BD46}"/>
              </a:ext>
            </a:extLst>
          </p:cNvPr>
          <p:cNvSpPr>
            <a:spLocks/>
          </p:cNvSpPr>
          <p:nvPr userDrawn="1"/>
        </p:nvSpPr>
        <p:spPr>
          <a:xfrm>
            <a:off x="3247391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F9564871-2315-F917-936A-A63BE5426721}"/>
              </a:ext>
            </a:extLst>
          </p:cNvPr>
          <p:cNvSpPr>
            <a:spLocks/>
          </p:cNvSpPr>
          <p:nvPr userDrawn="1"/>
        </p:nvSpPr>
        <p:spPr>
          <a:xfrm>
            <a:off x="6684354" y="1194852"/>
            <a:ext cx="3771610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 &amp; BERUFLICHE ERFAHRUNG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E89FB22-ACD1-278F-920A-970D75D4DDA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307136A-0F0F-491A-C7D1-A6953ABC9F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2E654FE3-3BF6-5457-8FEE-A564F438199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47391" y="1530910"/>
            <a:ext cx="3214778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EE0DCADE-741F-18AD-F878-A5B92F29B9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84354" y="1530910"/>
            <a:ext cx="5028373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259AD18-06AD-A538-861B-28ED3C8BB8A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66750" y="1223963"/>
            <a:ext cx="2268538" cy="2268537"/>
          </a:xfrm>
        </p:spPr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09459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6000" y="1224000"/>
            <a:ext cx="3600000" cy="2250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10" name="Rechteck: abgerundete Ecken 11">
            <a:extLst>
              <a:ext uri="{FF2B5EF4-FFF2-40B4-BE49-F238E27FC236}">
                <a16:creationId xmlns:a16="http://schemas.microsoft.com/office/drawing/2014/main" id="{92C96352-573F-2FC9-E98D-F8CAD77D796D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3162469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ERFAHRUNGEN (AUSZUG)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D550E258-96D1-B5F1-2DCF-D0CEF37C0371}"/>
              </a:ext>
            </a:extLst>
          </p:cNvPr>
          <p:cNvSpPr>
            <a:spLocks/>
          </p:cNvSpPr>
          <p:nvPr userDrawn="1"/>
        </p:nvSpPr>
        <p:spPr>
          <a:xfrm>
            <a:off x="4481282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8485AF46-F0DE-B958-C8AD-CA5D2ABD1E34}"/>
              </a:ext>
            </a:extLst>
          </p:cNvPr>
          <p:cNvSpPr>
            <a:spLocks/>
          </p:cNvSpPr>
          <p:nvPr userDrawn="1"/>
        </p:nvSpPr>
        <p:spPr>
          <a:xfrm>
            <a:off x="7798631" y="1194852"/>
            <a:ext cx="3771610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 &amp; BERUFLICHE ERFAHRUNG</a:t>
            </a:r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84B69629-DFBF-5909-FA8F-47719B924F9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C7978A72-8177-2FE6-F6E3-52F77F104F6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Textplatzhalter 19">
            <a:extLst>
              <a:ext uri="{FF2B5EF4-FFF2-40B4-BE49-F238E27FC236}">
                <a16:creationId xmlns:a16="http://schemas.microsoft.com/office/drawing/2014/main" id="{8B039E53-EBD2-DDC8-77D2-9F30205DA0E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81283" y="1530910"/>
            <a:ext cx="3103942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19" name="Textplatzhalter 19">
            <a:extLst>
              <a:ext uri="{FF2B5EF4-FFF2-40B4-BE49-F238E27FC236}">
                <a16:creationId xmlns:a16="http://schemas.microsoft.com/office/drawing/2014/main" id="{B1C17E6A-E11C-8079-68F6-B4DF9F6DDB8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798631" y="1530910"/>
            <a:ext cx="3914095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D06A65E-A682-7931-B964-F473B1F7FB7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67137" y="1224256"/>
            <a:ext cx="3598863" cy="2249487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5517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AA97715-E243-44FB-A4DF-8B24568E8B84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Technologies AG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19E478D-967E-C41A-F9B9-AA54FF94C200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0" name="Freihandform: Form 7">
              <a:extLst>
                <a:ext uri="{FF2B5EF4-FFF2-40B4-BE49-F238E27FC236}">
                  <a16:creationId xmlns:a16="http://schemas.microsoft.com/office/drawing/2014/main" id="{3B5E64EF-4856-48DB-C089-19783BF88BD4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ihandform: Form 8">
              <a:extLst>
                <a:ext uri="{FF2B5EF4-FFF2-40B4-BE49-F238E27FC236}">
                  <a16:creationId xmlns:a16="http://schemas.microsoft.com/office/drawing/2014/main" id="{E4C3C544-9CB1-DDAA-40F6-D602D0270BD0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F1901E2B-CC59-BA9B-D1C9-8B578A9547AE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E7055619-D590-3996-EEB3-E3B0AD77EFE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ihandform: Form 11">
              <a:extLst>
                <a:ext uri="{FF2B5EF4-FFF2-40B4-BE49-F238E27FC236}">
                  <a16:creationId xmlns:a16="http://schemas.microsoft.com/office/drawing/2014/main" id="{FB4A13ED-E5C8-8415-0939-2CFF1623C50E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ihandform: Form 12">
              <a:extLst>
                <a:ext uri="{FF2B5EF4-FFF2-40B4-BE49-F238E27FC236}">
                  <a16:creationId xmlns:a16="http://schemas.microsoft.com/office/drawing/2014/main" id="{349DB247-DA0B-1D11-467B-580887DFD7D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ihandform: Form 13">
              <a:extLst>
                <a:ext uri="{FF2B5EF4-FFF2-40B4-BE49-F238E27FC236}">
                  <a16:creationId xmlns:a16="http://schemas.microsoft.com/office/drawing/2014/main" id="{08C56815-74A5-51E7-0FF5-A4F27CC0A4D5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90272DA-58CE-021B-E5FA-70B409E019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8"/>
            <a:ext cx="11233927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-2 zeilige Kernaussag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264511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11" name="Rechteck: abgerundete Ecken 11">
            <a:extLst>
              <a:ext uri="{FF2B5EF4-FFF2-40B4-BE49-F238E27FC236}">
                <a16:creationId xmlns:a16="http://schemas.microsoft.com/office/drawing/2014/main" id="{2EBA78E4-D79A-89F2-769D-5FEF9B171A34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3162469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ERFAHRUNGEN (AUSZUG)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7318" y="1224000"/>
            <a:ext cx="2268000" cy="2268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2570A174-E936-064E-B6EF-61EC5246BD46}"/>
              </a:ext>
            </a:extLst>
          </p:cNvPr>
          <p:cNvSpPr>
            <a:spLocks/>
          </p:cNvSpPr>
          <p:nvPr userDrawn="1"/>
        </p:nvSpPr>
        <p:spPr>
          <a:xfrm>
            <a:off x="3247391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F9564871-2315-F917-936A-A63BE5426721}"/>
              </a:ext>
            </a:extLst>
          </p:cNvPr>
          <p:cNvSpPr>
            <a:spLocks/>
          </p:cNvSpPr>
          <p:nvPr userDrawn="1"/>
        </p:nvSpPr>
        <p:spPr>
          <a:xfrm>
            <a:off x="6684354" y="1194852"/>
            <a:ext cx="3771610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 &amp; BERUFLICHE ERFAHRUNG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E89FB22-ACD1-278F-920A-970D75D4DDA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307136A-0F0F-491A-C7D1-A6953ABC9F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2E654FE3-3BF6-5457-8FEE-A564F438199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47391" y="1530910"/>
            <a:ext cx="3214778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EE0DCADE-741F-18AD-F878-A5B92F29B9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84354" y="1530910"/>
            <a:ext cx="5028373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259AD18-06AD-A538-861B-28ED3C8BB8A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66750" y="1223963"/>
            <a:ext cx="2268538" cy="2268537"/>
          </a:xfrm>
        </p:spPr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49096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6000" y="1224000"/>
            <a:ext cx="3600000" cy="2250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10" name="Rechteck: abgerundete Ecken 11">
            <a:extLst>
              <a:ext uri="{FF2B5EF4-FFF2-40B4-BE49-F238E27FC236}">
                <a16:creationId xmlns:a16="http://schemas.microsoft.com/office/drawing/2014/main" id="{92C96352-573F-2FC9-E98D-F8CAD77D796D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3162469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ERFAHRUNGEN (AUSZUG)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D550E258-96D1-B5F1-2DCF-D0CEF37C0371}"/>
              </a:ext>
            </a:extLst>
          </p:cNvPr>
          <p:cNvSpPr>
            <a:spLocks/>
          </p:cNvSpPr>
          <p:nvPr userDrawn="1"/>
        </p:nvSpPr>
        <p:spPr>
          <a:xfrm>
            <a:off x="4481282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8485AF46-F0DE-B958-C8AD-CA5D2ABD1E34}"/>
              </a:ext>
            </a:extLst>
          </p:cNvPr>
          <p:cNvSpPr>
            <a:spLocks/>
          </p:cNvSpPr>
          <p:nvPr userDrawn="1"/>
        </p:nvSpPr>
        <p:spPr>
          <a:xfrm>
            <a:off x="7798631" y="1194852"/>
            <a:ext cx="3771610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 &amp; BERUFLICHE ERFAHRUNG</a:t>
            </a:r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84B69629-DFBF-5909-FA8F-47719B924F9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C7978A72-8177-2FE6-F6E3-52F77F104F6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Textplatzhalter 19">
            <a:extLst>
              <a:ext uri="{FF2B5EF4-FFF2-40B4-BE49-F238E27FC236}">
                <a16:creationId xmlns:a16="http://schemas.microsoft.com/office/drawing/2014/main" id="{8B039E53-EBD2-DDC8-77D2-9F30205DA0E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81283" y="1530910"/>
            <a:ext cx="3103942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19" name="Textplatzhalter 19">
            <a:extLst>
              <a:ext uri="{FF2B5EF4-FFF2-40B4-BE49-F238E27FC236}">
                <a16:creationId xmlns:a16="http://schemas.microsoft.com/office/drawing/2014/main" id="{B1C17E6A-E11C-8079-68F6-B4DF9F6DDB8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798631" y="1530910"/>
            <a:ext cx="3914095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D06A65E-A682-7931-B964-F473B1F7FB7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67137" y="1224256"/>
            <a:ext cx="3598863" cy="2249487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428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AA97715-E243-44FB-A4DF-8B24568E8B84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Technologies AG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19E478D-967E-C41A-F9B9-AA54FF94C200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0" name="Freihandform: Form 7">
              <a:extLst>
                <a:ext uri="{FF2B5EF4-FFF2-40B4-BE49-F238E27FC236}">
                  <a16:creationId xmlns:a16="http://schemas.microsoft.com/office/drawing/2014/main" id="{3B5E64EF-4856-48DB-C089-19783BF88BD4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ihandform: Form 8">
              <a:extLst>
                <a:ext uri="{FF2B5EF4-FFF2-40B4-BE49-F238E27FC236}">
                  <a16:creationId xmlns:a16="http://schemas.microsoft.com/office/drawing/2014/main" id="{E4C3C544-9CB1-DDAA-40F6-D602D0270BD0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F1901E2B-CC59-BA9B-D1C9-8B578A9547AE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E7055619-D590-3996-EEB3-E3B0AD77EFE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ihandform: Form 11">
              <a:extLst>
                <a:ext uri="{FF2B5EF4-FFF2-40B4-BE49-F238E27FC236}">
                  <a16:creationId xmlns:a16="http://schemas.microsoft.com/office/drawing/2014/main" id="{FB4A13ED-E5C8-8415-0939-2CFF1623C50E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ihandform: Form 12">
              <a:extLst>
                <a:ext uri="{FF2B5EF4-FFF2-40B4-BE49-F238E27FC236}">
                  <a16:creationId xmlns:a16="http://schemas.microsoft.com/office/drawing/2014/main" id="{349DB247-DA0B-1D11-467B-580887DFD7D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ihandform: Form 13">
              <a:extLst>
                <a:ext uri="{FF2B5EF4-FFF2-40B4-BE49-F238E27FC236}">
                  <a16:creationId xmlns:a16="http://schemas.microsoft.com/office/drawing/2014/main" id="{08C56815-74A5-51E7-0FF5-A4F27CC0A4D5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90272DA-58CE-021B-E5FA-70B409E019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8"/>
            <a:ext cx="11233927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-2 zeilige Kernaussag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2561273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oleObject" Target="../embeddings/oleObject3.bin"/><Relationship Id="rId5" Type="http://schemas.openxmlformats.org/officeDocument/2006/relationships/tags" Target="../tags/tag4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D22A800-C5C2-EFC0-5A26-40F1FD8A8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96973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63" imgH="463" progId="TCLayout.ActiveDocument.1">
                  <p:embed/>
                </p:oleObj>
              </mc:Choice>
              <mc:Fallback>
                <p:oleObj name="think-cell Folie" r:id="rId4" imgW="463" imgH="46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22A800-C5C2-EFC0-5A26-40F1FD8A822C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407493-1651-DC20-3673-08A127F69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19999"/>
            <a:ext cx="11232000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Mastertitelformat bearbeiten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7A2075-B767-A0E7-D40F-8D9F91D376F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478800" y="1692000"/>
            <a:ext cx="11232000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951DED-992C-C7B7-1C4D-C8EC85A99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8800" y="6555600"/>
            <a:ext cx="662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64428B-05F9-FA76-89F9-D8C8375E84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23600" y="6555600"/>
            <a:ext cx="8964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D5C602-747D-3F65-F3A6-7B2B5D91D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715206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None/>
        <a:defRPr sz="1400" b="1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bg1"/>
        </a:buClr>
        <a:buFont typeface="Wingdings" panose="05000000000000000000" pitchFamily="2" charset="2"/>
        <a:buChar char="§"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bg1"/>
        </a:buClr>
        <a:buFont typeface="Symbol" panose="05050102010706020507" pitchFamily="18" charset="2"/>
        <a:buChar char="-"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bg1"/>
        </a:buClr>
        <a:buFont typeface="+mj-lt"/>
        <a:buAutoNum type="arabicPeriod"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bg1"/>
        </a:buClr>
        <a:buFont typeface="+mj-lt"/>
        <a:buAutoNum type="alphaLcPeriod"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400" b="1" kern="1200">
          <a:solidFill>
            <a:schemeClr val="accent1"/>
          </a:solidFill>
          <a:latin typeface="Arial" panose="020B0604020202020204" pitchFamily="34" charset="0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400" b="1" kern="1200">
          <a:solidFill>
            <a:schemeClr val="accent2"/>
          </a:solidFill>
          <a:latin typeface="Arial" panose="020B0604020202020204" pitchFamily="34" charset="0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8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02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orient="horz" pos="1063" userDrawn="1">
          <p15:clr>
            <a:srgbClr val="F26B43"/>
          </p15:clr>
        </p15:guide>
        <p15:guide id="6" orient="horz" pos="40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147EC6-D60F-415F-8D56-98DE6C70AA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47682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463" imgH="463" progId="TCLayout.ActiveDocument.1">
                  <p:embed/>
                </p:oleObj>
              </mc:Choice>
              <mc:Fallback>
                <p:oleObj name="think-cell Folie" r:id="rId6" imgW="463" imgH="46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147EC6-D60F-415F-8D56-98DE6C70AAD0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407493-1651-DC20-3673-08A127F69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799" y="719999"/>
            <a:ext cx="11233927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Mastertitelformat bearbeiten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951DED-992C-C7B7-1C4D-C8EC85A99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8800" y="6555600"/>
            <a:ext cx="662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64428B-05F9-FA76-89F9-D8C8375E84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23600" y="6555600"/>
            <a:ext cx="8964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Technologies AG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D5C602-747D-3F65-F3A6-7B2B5D91D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5CE9A30-C9AE-3917-8A79-651505040C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8799" y="1692000"/>
            <a:ext cx="11221201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2324410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0" r:id="rId2"/>
    <p:sldLayoutId id="2147483773" r:id="rId3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None/>
        <a:defRPr sz="1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Symbol" pitchFamily="2" charset="2"/>
        <a:buChar char="-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rabi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lphaL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4020" userDrawn="1">
          <p15:clr>
            <a:srgbClr val="F26B43"/>
          </p15:clr>
        </p15:guide>
        <p15:guide id="3" orient="horz" pos="1063" userDrawn="1">
          <p15:clr>
            <a:srgbClr val="F26B43"/>
          </p15:clr>
        </p15:guide>
        <p15:guide id="4" pos="30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6" orient="horz" pos="216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2B14427-CFF6-47F7-BECC-A3818165E5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68561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463" imgH="463" progId="TCLayout.ActiveDocument.1">
                  <p:embed/>
                </p:oleObj>
              </mc:Choice>
              <mc:Fallback>
                <p:oleObj name="think-cell Folie" r:id="rId6" imgW="463" imgH="46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B14427-CFF6-47F7-BECC-A3818165E530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407493-1651-DC20-3673-08A127F69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799" y="719999"/>
            <a:ext cx="11233927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Mastertitelformat bearbeiten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951DED-992C-C7B7-1C4D-C8EC85A99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8800" y="6555600"/>
            <a:ext cx="662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64428B-05F9-FA76-89F9-D8C8375E84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23600" y="6555600"/>
            <a:ext cx="8964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Technologies AG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D5C602-747D-3F65-F3A6-7B2B5D91D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5CE9A30-C9AE-3917-8A79-651505040C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8799" y="1692000"/>
            <a:ext cx="11221201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1244939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None/>
        <a:defRPr sz="1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Symbol" pitchFamily="2" charset="2"/>
        <a:buChar char="-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rabi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lphaL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4020">
          <p15:clr>
            <a:srgbClr val="F26B43"/>
          </p15:clr>
        </p15:guide>
        <p15:guide id="3" orient="horz" pos="1063">
          <p15:clr>
            <a:srgbClr val="F26B43"/>
          </p15:clr>
        </p15:guide>
        <p15:guide id="4" pos="302">
          <p15:clr>
            <a:srgbClr val="F26B43"/>
          </p15:clr>
        </p15:guide>
        <p15:guide id="5" pos="7378">
          <p15:clr>
            <a:srgbClr val="F26B43"/>
          </p15:clr>
        </p15:guide>
        <p15:guide id="6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857773-4FEB-B52B-27D3-1D48CC9AC5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23A7E8B-BDC7-4344-D556-7759546E59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63" imgH="463" progId="TCLayout.ActiveDocument.1">
                  <p:embed/>
                </p:oleObj>
              </mc:Choice>
              <mc:Fallback>
                <p:oleObj name="think-cell Folie" r:id="rId4" imgW="463" imgH="46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3A7E8B-BDC7-4344-D556-7759546E59A3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D3394F0-9D9B-EC25-DFBB-0A35029E19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13BA3-4DBD-492F-AF1C-C76B12832872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06.25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028D28A-0B79-C305-E465-85D84E47B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Nam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F6D0118-D466-C159-3759-39F58D0F0C6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21FEE8-5A4C-58F7-44E8-68645899396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CE0F281-C5B5-FB70-4511-2B8B10512E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enior Consultan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69B5600-4F70-2A67-BFB6-856EBCA1D29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1923F47-C137-A8CA-978C-3656D1A0102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lvl="2"/>
            <a:endParaRPr lang="de-DE" dirty="0"/>
          </a:p>
        </p:txBody>
      </p:sp>
      <p:sp>
        <p:nvSpPr>
          <p:cNvPr id="14" name="Content Placeholder 16">
            <a:extLst>
              <a:ext uri="{FF2B5EF4-FFF2-40B4-BE49-F238E27FC236}">
                <a16:creationId xmlns:a16="http://schemas.microsoft.com/office/drawing/2014/main" id="{46738FE6-7B24-A765-E9CA-8BC7BD17B28F}"/>
              </a:ext>
            </a:extLst>
          </p:cNvPr>
          <p:cNvSpPr txBox="1">
            <a:spLocks noChangeAspect="1"/>
          </p:cNvSpPr>
          <p:nvPr/>
        </p:nvSpPr>
        <p:spPr>
          <a:xfrm>
            <a:off x="485282" y="4101476"/>
            <a:ext cx="5501753" cy="228124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0" lvl="2" indent="-18288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Content Placeholder 16">
            <a:extLst>
              <a:ext uri="{FF2B5EF4-FFF2-40B4-BE49-F238E27FC236}">
                <a16:creationId xmlns:a16="http://schemas.microsoft.com/office/drawing/2014/main" id="{79628BAA-E1F5-9633-9C81-57AC5560E488}"/>
              </a:ext>
            </a:extLst>
          </p:cNvPr>
          <p:cNvSpPr txBox="1">
            <a:spLocks noChangeAspect="1"/>
          </p:cNvSpPr>
          <p:nvPr/>
        </p:nvSpPr>
        <p:spPr>
          <a:xfrm>
            <a:off x="6204967" y="4082736"/>
            <a:ext cx="5501753" cy="228124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Clr>
                <a:srgbClr val="FFFFFF"/>
              </a:buClr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535AEB3-733F-E5BA-1E80-7BCDA7C0329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71913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CEE127-D351-4D76-CFD7-734CA4F923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63B9024-8E28-283D-CF69-60ABBD0285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63" imgH="463" progId="TCLayout.ActiveDocument.1">
                  <p:embed/>
                </p:oleObj>
              </mc:Choice>
              <mc:Fallback>
                <p:oleObj name="think-cell Folie" r:id="rId3" imgW="463" imgH="46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3B9024-8E28-283D-CF69-60ABBD028564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09845E-0A20-B5FF-33C3-80C32174CB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13BA3-4DBD-492F-AF1C-C76B12832872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06.25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C5CB75F-04E3-9C19-A906-B11B41C94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rederik Tischbei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36BE7D9-C70E-30EC-5CB1-8CF106E878B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94847C-D58A-8D5F-E12D-9ECD44E74EE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E1DBFE7-F34C-42E8-D086-A263F881DF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enior Consultan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DB7B8FD-5C13-7A51-2DD3-A106960CE29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EE77A71-817D-2D64-4D83-8258370375D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lvl="2"/>
            <a:endParaRPr lang="de-DE" dirty="0"/>
          </a:p>
        </p:txBody>
      </p:sp>
      <p:sp>
        <p:nvSpPr>
          <p:cNvPr id="14" name="Content Placeholder 16">
            <a:extLst>
              <a:ext uri="{FF2B5EF4-FFF2-40B4-BE49-F238E27FC236}">
                <a16:creationId xmlns:a16="http://schemas.microsoft.com/office/drawing/2014/main" id="{D76C1467-8BE0-ED60-6E7C-73079BF40510}"/>
              </a:ext>
            </a:extLst>
          </p:cNvPr>
          <p:cNvSpPr txBox="1">
            <a:spLocks noChangeAspect="1"/>
          </p:cNvSpPr>
          <p:nvPr/>
        </p:nvSpPr>
        <p:spPr>
          <a:xfrm>
            <a:off x="485282" y="4101476"/>
            <a:ext cx="5501753" cy="228124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0" lvl="2" indent="-18288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Content Placeholder 16">
            <a:extLst>
              <a:ext uri="{FF2B5EF4-FFF2-40B4-BE49-F238E27FC236}">
                <a16:creationId xmlns:a16="http://schemas.microsoft.com/office/drawing/2014/main" id="{A0C0D314-E3B4-3BC4-C7B0-D2052C88C859}"/>
              </a:ext>
            </a:extLst>
          </p:cNvPr>
          <p:cNvSpPr txBox="1">
            <a:spLocks noChangeAspect="1"/>
          </p:cNvSpPr>
          <p:nvPr/>
        </p:nvSpPr>
        <p:spPr>
          <a:xfrm>
            <a:off x="6204967" y="4082736"/>
            <a:ext cx="5501753" cy="228124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Clr>
                <a:srgbClr val="FFFFFF"/>
              </a:buClr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lussdiagramm: Alternativer Prozess 7">
            <a:extLst>
              <a:ext uri="{FF2B5EF4-FFF2-40B4-BE49-F238E27FC236}">
                <a16:creationId xmlns:a16="http://schemas.microsoft.com/office/drawing/2014/main" id="{DACCB3B6-A3C3-E469-95AE-A8D69C636AFD}"/>
              </a:ext>
            </a:extLst>
          </p:cNvPr>
          <p:cNvSpPr/>
          <p:nvPr/>
        </p:nvSpPr>
        <p:spPr>
          <a:xfrm>
            <a:off x="4564742" y="180000"/>
            <a:ext cx="3062040" cy="504646"/>
          </a:xfrm>
          <a:custGeom>
            <a:avLst/>
            <a:gdLst>
              <a:gd name="connsiteX0" fmla="*/ 0 w 4678017"/>
              <a:gd name="connsiteY0" fmla="*/ 229704 h 1378226"/>
              <a:gd name="connsiteX1" fmla="*/ 229704 w 4678017"/>
              <a:gd name="connsiteY1" fmla="*/ 0 h 1378226"/>
              <a:gd name="connsiteX2" fmla="*/ 4448313 w 4678017"/>
              <a:gd name="connsiteY2" fmla="*/ 0 h 1378226"/>
              <a:gd name="connsiteX3" fmla="*/ 4678017 w 4678017"/>
              <a:gd name="connsiteY3" fmla="*/ 229704 h 1378226"/>
              <a:gd name="connsiteX4" fmla="*/ 4678017 w 4678017"/>
              <a:gd name="connsiteY4" fmla="*/ 1148522 h 1378226"/>
              <a:gd name="connsiteX5" fmla="*/ 4448313 w 4678017"/>
              <a:gd name="connsiteY5" fmla="*/ 1378226 h 1378226"/>
              <a:gd name="connsiteX6" fmla="*/ 229704 w 4678017"/>
              <a:gd name="connsiteY6" fmla="*/ 1378226 h 1378226"/>
              <a:gd name="connsiteX7" fmla="*/ 0 w 4678017"/>
              <a:gd name="connsiteY7" fmla="*/ 1148522 h 1378226"/>
              <a:gd name="connsiteX8" fmla="*/ 0 w 4678017"/>
              <a:gd name="connsiteY8" fmla="*/ 229704 h 1378226"/>
              <a:gd name="connsiteX0" fmla="*/ 116954 w 4794971"/>
              <a:gd name="connsiteY0" fmla="*/ 229704 h 1378226"/>
              <a:gd name="connsiteX1" fmla="*/ 41858 w 4794971"/>
              <a:gd name="connsiteY1" fmla="*/ 6626 h 1378226"/>
              <a:gd name="connsiteX2" fmla="*/ 4565267 w 4794971"/>
              <a:gd name="connsiteY2" fmla="*/ 0 h 1378226"/>
              <a:gd name="connsiteX3" fmla="*/ 4794971 w 4794971"/>
              <a:gd name="connsiteY3" fmla="*/ 229704 h 1378226"/>
              <a:gd name="connsiteX4" fmla="*/ 4794971 w 4794971"/>
              <a:gd name="connsiteY4" fmla="*/ 1148522 h 1378226"/>
              <a:gd name="connsiteX5" fmla="*/ 4565267 w 4794971"/>
              <a:gd name="connsiteY5" fmla="*/ 1378226 h 1378226"/>
              <a:gd name="connsiteX6" fmla="*/ 346658 w 4794971"/>
              <a:gd name="connsiteY6" fmla="*/ 1378226 h 1378226"/>
              <a:gd name="connsiteX7" fmla="*/ 116954 w 4794971"/>
              <a:gd name="connsiteY7" fmla="*/ 1148522 h 1378226"/>
              <a:gd name="connsiteX8" fmla="*/ 116954 w 4794971"/>
              <a:gd name="connsiteY8" fmla="*/ 229704 h 1378226"/>
              <a:gd name="connsiteX0" fmla="*/ 211762 w 4889779"/>
              <a:gd name="connsiteY0" fmla="*/ 229705 h 1378227"/>
              <a:gd name="connsiteX1" fmla="*/ 30649 w 4889779"/>
              <a:gd name="connsiteY1" fmla="*/ 0 h 1378227"/>
              <a:gd name="connsiteX2" fmla="*/ 4660075 w 4889779"/>
              <a:gd name="connsiteY2" fmla="*/ 1 h 1378227"/>
              <a:gd name="connsiteX3" fmla="*/ 4889779 w 4889779"/>
              <a:gd name="connsiteY3" fmla="*/ 229705 h 1378227"/>
              <a:gd name="connsiteX4" fmla="*/ 4889779 w 4889779"/>
              <a:gd name="connsiteY4" fmla="*/ 1148523 h 1378227"/>
              <a:gd name="connsiteX5" fmla="*/ 4660075 w 4889779"/>
              <a:gd name="connsiteY5" fmla="*/ 1378227 h 1378227"/>
              <a:gd name="connsiteX6" fmla="*/ 441466 w 4889779"/>
              <a:gd name="connsiteY6" fmla="*/ 1378227 h 1378227"/>
              <a:gd name="connsiteX7" fmla="*/ 211762 w 4889779"/>
              <a:gd name="connsiteY7" fmla="*/ 1148523 h 1378227"/>
              <a:gd name="connsiteX8" fmla="*/ 211762 w 4889779"/>
              <a:gd name="connsiteY8" fmla="*/ 229705 h 1378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9779" h="1378227">
                <a:moveTo>
                  <a:pt x="211762" y="229705"/>
                </a:moveTo>
                <a:cubicBezTo>
                  <a:pt x="211762" y="102843"/>
                  <a:pt x="-96213" y="0"/>
                  <a:pt x="30649" y="0"/>
                </a:cubicBezTo>
                <a:lnTo>
                  <a:pt x="4660075" y="1"/>
                </a:lnTo>
                <a:cubicBezTo>
                  <a:pt x="4786937" y="1"/>
                  <a:pt x="4889779" y="102843"/>
                  <a:pt x="4889779" y="229705"/>
                </a:cubicBezTo>
                <a:lnTo>
                  <a:pt x="4889779" y="1148523"/>
                </a:lnTo>
                <a:cubicBezTo>
                  <a:pt x="4889779" y="1275385"/>
                  <a:pt x="4786937" y="1378227"/>
                  <a:pt x="4660075" y="1378227"/>
                </a:cubicBezTo>
                <a:lnTo>
                  <a:pt x="441466" y="1378227"/>
                </a:lnTo>
                <a:cubicBezTo>
                  <a:pt x="314604" y="1378227"/>
                  <a:pt x="211762" y="1275385"/>
                  <a:pt x="211762" y="1148523"/>
                </a:cubicBezTo>
                <a:lnTo>
                  <a:pt x="211762" y="22970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undenanonyme Fassung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D569C48-8ABA-CED0-71E2-909F7B00826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2431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1CE0CF8-2CFD-DE39-D67A-0547A5A14E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8408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CE0CF8-2CFD-DE39-D67A-0547A5A14E29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4F32ACD-8089-CE89-3D1F-A4F747B1F2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enior Consultan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A01DD83-F17C-3D6D-ECB8-9C4D2DC2296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AA97715-E243-44FB-A4DF-8B24568E8B84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64A4A27-03D5-4A45-FD0B-EB1F03807D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Senacor Technologies AG</a:t>
            </a:r>
            <a:endParaRPr lang="en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6EB38D-8DEC-034E-91B6-6B139149FE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3DBB63-5C76-DA40-949C-F00FB53C9B50}" type="slidenum">
              <a:rPr lang="en-DE" smtClean="0"/>
              <a:pPr/>
              <a:t>3</a:t>
            </a:fld>
            <a:endParaRPr lang="en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DE5D420-94DB-E393-6B3E-CE10C915F5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rederik Tischbein</a:t>
            </a:r>
          </a:p>
        </p:txBody>
      </p:sp>
      <p:sp>
        <p:nvSpPr>
          <p:cNvPr id="7" name="Content Placeholder 16">
            <a:extLst>
              <a:ext uri="{FF2B5EF4-FFF2-40B4-BE49-F238E27FC236}">
                <a16:creationId xmlns:a16="http://schemas.microsoft.com/office/drawing/2014/main" id="{56C35056-864E-8BBC-C4C8-3E5A302D6AAB}"/>
              </a:ext>
            </a:extLst>
          </p:cNvPr>
          <p:cNvSpPr txBox="1">
            <a:spLocks noChangeAspect="1"/>
          </p:cNvSpPr>
          <p:nvPr/>
        </p:nvSpPr>
        <p:spPr>
          <a:xfrm>
            <a:off x="478799" y="1714475"/>
            <a:ext cx="5376672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gänzung: Ausbildung und berufliche Erfahrung</a:t>
            </a:r>
          </a:p>
          <a:p>
            <a:pPr marL="0" lvl="2" indent="0">
              <a:buFont typeface="Wingdings" panose="05000000000000000000" pitchFamily="2" charset="2"/>
              <a:buNone/>
            </a:pP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gänzung: </a:t>
            </a:r>
            <a:r>
              <a:rPr lang="de-DE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</a:t>
            </a: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fil / Tech Stack</a:t>
            </a:r>
          </a:p>
        </p:txBody>
      </p:sp>
      <p:sp>
        <p:nvSpPr>
          <p:cNvPr id="8" name="Flussdiagramm: Alternativer Prozess 7">
            <a:extLst>
              <a:ext uri="{FF2B5EF4-FFF2-40B4-BE49-F238E27FC236}">
                <a16:creationId xmlns:a16="http://schemas.microsoft.com/office/drawing/2014/main" id="{40B018FD-C0AC-7805-C181-AC9F012907A5}"/>
              </a:ext>
            </a:extLst>
          </p:cNvPr>
          <p:cNvSpPr/>
          <p:nvPr/>
        </p:nvSpPr>
        <p:spPr>
          <a:xfrm>
            <a:off x="4564742" y="180000"/>
            <a:ext cx="3062040" cy="504646"/>
          </a:xfrm>
          <a:custGeom>
            <a:avLst/>
            <a:gdLst>
              <a:gd name="connsiteX0" fmla="*/ 0 w 4678017"/>
              <a:gd name="connsiteY0" fmla="*/ 229704 h 1378226"/>
              <a:gd name="connsiteX1" fmla="*/ 229704 w 4678017"/>
              <a:gd name="connsiteY1" fmla="*/ 0 h 1378226"/>
              <a:gd name="connsiteX2" fmla="*/ 4448313 w 4678017"/>
              <a:gd name="connsiteY2" fmla="*/ 0 h 1378226"/>
              <a:gd name="connsiteX3" fmla="*/ 4678017 w 4678017"/>
              <a:gd name="connsiteY3" fmla="*/ 229704 h 1378226"/>
              <a:gd name="connsiteX4" fmla="*/ 4678017 w 4678017"/>
              <a:gd name="connsiteY4" fmla="*/ 1148522 h 1378226"/>
              <a:gd name="connsiteX5" fmla="*/ 4448313 w 4678017"/>
              <a:gd name="connsiteY5" fmla="*/ 1378226 h 1378226"/>
              <a:gd name="connsiteX6" fmla="*/ 229704 w 4678017"/>
              <a:gd name="connsiteY6" fmla="*/ 1378226 h 1378226"/>
              <a:gd name="connsiteX7" fmla="*/ 0 w 4678017"/>
              <a:gd name="connsiteY7" fmla="*/ 1148522 h 1378226"/>
              <a:gd name="connsiteX8" fmla="*/ 0 w 4678017"/>
              <a:gd name="connsiteY8" fmla="*/ 229704 h 1378226"/>
              <a:gd name="connsiteX0" fmla="*/ 116954 w 4794971"/>
              <a:gd name="connsiteY0" fmla="*/ 229704 h 1378226"/>
              <a:gd name="connsiteX1" fmla="*/ 41858 w 4794971"/>
              <a:gd name="connsiteY1" fmla="*/ 6626 h 1378226"/>
              <a:gd name="connsiteX2" fmla="*/ 4565267 w 4794971"/>
              <a:gd name="connsiteY2" fmla="*/ 0 h 1378226"/>
              <a:gd name="connsiteX3" fmla="*/ 4794971 w 4794971"/>
              <a:gd name="connsiteY3" fmla="*/ 229704 h 1378226"/>
              <a:gd name="connsiteX4" fmla="*/ 4794971 w 4794971"/>
              <a:gd name="connsiteY4" fmla="*/ 1148522 h 1378226"/>
              <a:gd name="connsiteX5" fmla="*/ 4565267 w 4794971"/>
              <a:gd name="connsiteY5" fmla="*/ 1378226 h 1378226"/>
              <a:gd name="connsiteX6" fmla="*/ 346658 w 4794971"/>
              <a:gd name="connsiteY6" fmla="*/ 1378226 h 1378226"/>
              <a:gd name="connsiteX7" fmla="*/ 116954 w 4794971"/>
              <a:gd name="connsiteY7" fmla="*/ 1148522 h 1378226"/>
              <a:gd name="connsiteX8" fmla="*/ 116954 w 4794971"/>
              <a:gd name="connsiteY8" fmla="*/ 229704 h 1378226"/>
              <a:gd name="connsiteX0" fmla="*/ 211762 w 4889779"/>
              <a:gd name="connsiteY0" fmla="*/ 229705 h 1378227"/>
              <a:gd name="connsiteX1" fmla="*/ 30649 w 4889779"/>
              <a:gd name="connsiteY1" fmla="*/ 0 h 1378227"/>
              <a:gd name="connsiteX2" fmla="*/ 4660075 w 4889779"/>
              <a:gd name="connsiteY2" fmla="*/ 1 h 1378227"/>
              <a:gd name="connsiteX3" fmla="*/ 4889779 w 4889779"/>
              <a:gd name="connsiteY3" fmla="*/ 229705 h 1378227"/>
              <a:gd name="connsiteX4" fmla="*/ 4889779 w 4889779"/>
              <a:gd name="connsiteY4" fmla="*/ 1148523 h 1378227"/>
              <a:gd name="connsiteX5" fmla="*/ 4660075 w 4889779"/>
              <a:gd name="connsiteY5" fmla="*/ 1378227 h 1378227"/>
              <a:gd name="connsiteX6" fmla="*/ 441466 w 4889779"/>
              <a:gd name="connsiteY6" fmla="*/ 1378227 h 1378227"/>
              <a:gd name="connsiteX7" fmla="*/ 211762 w 4889779"/>
              <a:gd name="connsiteY7" fmla="*/ 1148523 h 1378227"/>
              <a:gd name="connsiteX8" fmla="*/ 211762 w 4889779"/>
              <a:gd name="connsiteY8" fmla="*/ 229705 h 1378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9779" h="1378227">
                <a:moveTo>
                  <a:pt x="211762" y="229705"/>
                </a:moveTo>
                <a:cubicBezTo>
                  <a:pt x="211762" y="102843"/>
                  <a:pt x="-96213" y="0"/>
                  <a:pt x="30649" y="0"/>
                </a:cubicBezTo>
                <a:lnTo>
                  <a:pt x="4660075" y="1"/>
                </a:lnTo>
                <a:cubicBezTo>
                  <a:pt x="4786937" y="1"/>
                  <a:pt x="4889779" y="102843"/>
                  <a:pt x="4889779" y="229705"/>
                </a:cubicBezTo>
                <a:lnTo>
                  <a:pt x="4889779" y="1148523"/>
                </a:lnTo>
                <a:cubicBezTo>
                  <a:pt x="4889779" y="1275385"/>
                  <a:pt x="4786937" y="1378227"/>
                  <a:pt x="4660075" y="1378227"/>
                </a:cubicBezTo>
                <a:lnTo>
                  <a:pt x="441466" y="1378227"/>
                </a:lnTo>
                <a:cubicBezTo>
                  <a:pt x="314604" y="1378227"/>
                  <a:pt x="211762" y="1275385"/>
                  <a:pt x="211762" y="1148523"/>
                </a:cubicBezTo>
                <a:lnTo>
                  <a:pt x="211762" y="22970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optionale Ergänzungen</a:t>
            </a:r>
          </a:p>
        </p:txBody>
      </p:sp>
      <p:sp>
        <p:nvSpPr>
          <p:cNvPr id="9" name="Content Placeholder 16">
            <a:extLst>
              <a:ext uri="{FF2B5EF4-FFF2-40B4-BE49-F238E27FC236}">
                <a16:creationId xmlns:a16="http://schemas.microsoft.com/office/drawing/2014/main" id="{2AA1862D-D90D-B4AC-7911-05D22E516001}"/>
              </a:ext>
            </a:extLst>
          </p:cNvPr>
          <p:cNvSpPr txBox="1">
            <a:spLocks noChangeAspect="1"/>
          </p:cNvSpPr>
          <p:nvPr/>
        </p:nvSpPr>
        <p:spPr>
          <a:xfrm>
            <a:off x="6336531" y="1714475"/>
            <a:ext cx="5376672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gänzung</a:t>
            </a:r>
            <a:r>
              <a:rPr lang="de-DE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Projekterfahrung</a:t>
            </a:r>
            <a:endParaRPr lang="de-D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E6D0F42-5C05-8580-D27E-5208CA36C33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2700000">
            <a:off x="4507753" y="2372248"/>
            <a:ext cx="3176016" cy="3176016"/>
          </a:xfrm>
          <a:prstGeom prst="line">
            <a:avLst/>
          </a:prstGeom>
          <a:ln w="317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7198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 2023 (Dark)">
  <a:themeElements>
    <a:clrScheme name="Senacor PPT 2023">
      <a:dk1>
        <a:srgbClr val="000000"/>
      </a:dk1>
      <a:lt1>
        <a:srgbClr val="FFFFFF"/>
      </a:lt1>
      <a:dk2>
        <a:srgbClr val="929292"/>
      </a:dk2>
      <a:lt2>
        <a:srgbClr val="373737"/>
      </a:lt2>
      <a:accent1>
        <a:srgbClr val="7091C8"/>
      </a:accent1>
      <a:accent2>
        <a:srgbClr val="82B8A1"/>
      </a:accent2>
      <a:accent3>
        <a:srgbClr val="C4C4C4"/>
      </a:accent3>
      <a:accent4>
        <a:srgbClr val="A8A8A8"/>
      </a:accent4>
      <a:accent5>
        <a:srgbClr val="D0D0D0"/>
      </a:accent5>
      <a:accent6>
        <a:srgbClr val="F6C111"/>
      </a:accent6>
      <a:hlink>
        <a:srgbClr val="7191C8"/>
      </a:hlink>
      <a:folHlink>
        <a:srgbClr val="596A8E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noAutofit/>
      </a:bodyPr>
      <a:lstStyle>
        <a:defPPr marL="171450" indent="-171450" algn="l">
          <a:spcAft>
            <a:spcPts val="330"/>
          </a:spcAft>
          <a:buFont typeface="Wingdings" pitchFamily="2" charset="2"/>
          <a:buChar char="§"/>
          <a:defRPr sz="12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 Master_2023" id="{69E2B91C-73F8-3141-9371-DDB6FAB7484B}" vid="{D24E23BC-4089-724E-AE17-D279E1740A09}"/>
    </a:ext>
  </a:extLst>
</a:theme>
</file>

<file path=ppt/theme/theme2.xml><?xml version="1.0" encoding="utf-8"?>
<a:theme xmlns:a="http://schemas.openxmlformats.org/drawingml/2006/main" name="Senacor 2023 (Light)">
  <a:themeElements>
    <a:clrScheme name="Senacor PPT 2023">
      <a:dk1>
        <a:srgbClr val="000000"/>
      </a:dk1>
      <a:lt1>
        <a:srgbClr val="FFFFFF"/>
      </a:lt1>
      <a:dk2>
        <a:srgbClr val="929292"/>
      </a:dk2>
      <a:lt2>
        <a:srgbClr val="373737"/>
      </a:lt2>
      <a:accent1>
        <a:srgbClr val="7091C8"/>
      </a:accent1>
      <a:accent2>
        <a:srgbClr val="82B8A1"/>
      </a:accent2>
      <a:accent3>
        <a:srgbClr val="C4C4C4"/>
      </a:accent3>
      <a:accent4>
        <a:srgbClr val="A8A8A8"/>
      </a:accent4>
      <a:accent5>
        <a:srgbClr val="D0D0D0"/>
      </a:accent5>
      <a:accent6>
        <a:srgbClr val="F6C111"/>
      </a:accent6>
      <a:hlink>
        <a:srgbClr val="7191C8"/>
      </a:hlink>
      <a:folHlink>
        <a:srgbClr val="596A8E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noAutofit/>
      </a:bodyPr>
      <a:lstStyle>
        <a:defPPr marL="180000" indent="-180000" algn="l">
          <a:lnSpc>
            <a:spcPct val="110000"/>
          </a:lnSpc>
          <a:spcBef>
            <a:spcPts val="400"/>
          </a:spcBef>
          <a:spcAft>
            <a:spcPts val="400"/>
          </a:spcAft>
          <a:buFont typeface="Wingdings" pitchFamily="2" charset="2"/>
          <a:buChar char="§"/>
          <a:defRPr sz="1200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 2023 Design" id="{2CA9BC13-F80B-4613-ABA7-5709D830275C}" vid="{AB471A79-B682-400B-9E72-8ACC93ECDCB0}"/>
    </a:ext>
  </a:extLst>
</a:theme>
</file>

<file path=ppt/theme/theme3.xml><?xml version="1.0" encoding="utf-8"?>
<a:theme xmlns:a="http://schemas.openxmlformats.org/drawingml/2006/main" name="1_Senacor 2023 (Light)">
  <a:themeElements>
    <a:clrScheme name="Senacor PPT 2023">
      <a:dk1>
        <a:srgbClr val="000000"/>
      </a:dk1>
      <a:lt1>
        <a:srgbClr val="FFFFFF"/>
      </a:lt1>
      <a:dk2>
        <a:srgbClr val="929292"/>
      </a:dk2>
      <a:lt2>
        <a:srgbClr val="373737"/>
      </a:lt2>
      <a:accent1>
        <a:srgbClr val="7091C8"/>
      </a:accent1>
      <a:accent2>
        <a:srgbClr val="82B8A1"/>
      </a:accent2>
      <a:accent3>
        <a:srgbClr val="C4C4C4"/>
      </a:accent3>
      <a:accent4>
        <a:srgbClr val="A8A8A8"/>
      </a:accent4>
      <a:accent5>
        <a:srgbClr val="D0D0D0"/>
      </a:accent5>
      <a:accent6>
        <a:srgbClr val="F6C111"/>
      </a:accent6>
      <a:hlink>
        <a:srgbClr val="7191C8"/>
      </a:hlink>
      <a:folHlink>
        <a:srgbClr val="596A8E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noAutofit/>
      </a:bodyPr>
      <a:lstStyle>
        <a:defPPr marL="180000" indent="-180000" algn="l">
          <a:lnSpc>
            <a:spcPct val="110000"/>
          </a:lnSpc>
          <a:spcBef>
            <a:spcPts val="400"/>
          </a:spcBef>
          <a:spcAft>
            <a:spcPts val="400"/>
          </a:spcAft>
          <a:buFont typeface="Wingdings" pitchFamily="2" charset="2"/>
          <a:buChar char="§"/>
          <a:defRPr sz="1200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 2023 Design" id="{2CA9BC13-F80B-4613-ABA7-5709D830275C}" vid="{AB471A79-B682-400B-9E72-8ACC93ECDCB0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70c37c3-6fe6-4316-bb79-6c535e774478">
      <Terms xmlns="http://schemas.microsoft.com/office/infopath/2007/PartnerControls"/>
    </lcf76f155ced4ddcb4097134ff3c332f>
    <TaxCatchAll xmlns="f247cc86-41ce-4e54-895f-61d07d03751e" xsi:nil="true"/>
    <SharedWithUsers xmlns="f247cc86-41ce-4e54-895f-61d07d03751e">
      <UserInfo>
        <DisplayName>Gumlich, Timo</DisplayName>
        <AccountId>988</AccountId>
        <AccountType/>
      </UserInfo>
    </SharedWithUsers>
    <Personen xmlns="c70c37c3-6fe6-4316-bb79-6c535e774478">
      <UserInfo>
        <DisplayName/>
        <AccountId xsi:nil="true"/>
        <AccountType/>
      </UserInfo>
    </Personen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D369A2B9592B44C89D12E69AC892C99" ma:contentTypeVersion="13" ma:contentTypeDescription="Ein neues Dokument erstellen." ma:contentTypeScope="" ma:versionID="b7c9890500993b7ef4df99c3ce3fb323">
  <xsd:schema xmlns:xsd="http://www.w3.org/2001/XMLSchema" xmlns:xs="http://www.w3.org/2001/XMLSchema" xmlns:p="http://schemas.microsoft.com/office/2006/metadata/properties" xmlns:ns2="c70c37c3-6fe6-4316-bb79-6c535e774478" xmlns:ns3="f247cc86-41ce-4e54-895f-61d07d03751e" targetNamespace="http://schemas.microsoft.com/office/2006/metadata/properties" ma:root="true" ma:fieldsID="5fd54ba166cb13e79e250c73cb829276" ns2:_="" ns3:_="">
    <xsd:import namespace="c70c37c3-6fe6-4316-bb79-6c535e774478"/>
    <xsd:import namespace="f247cc86-41ce-4e54-895f-61d07d0375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Persone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0c37c3-6fe6-4316-bb79-6c535e7744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markierungen" ma:readOnly="false" ma:fieldId="{5cf76f15-5ced-4ddc-b409-7134ff3c332f}" ma:taxonomyMulti="true" ma:sspId="3ea49aa2-03d1-4c4a-9f28-6baa57d9157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Personen" ma:index="19" nillable="true" ma:displayName="Personen" ma:format="Dropdown" ma:list="UserInfo" ma:SharePointGroup="0" ma:internalName="Personen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47cc86-41ce-4e54-895f-61d07d03751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1a96274e-1b24-44d9-8f5e-b12b3b3f589b}" ma:internalName="TaxCatchAll" ma:showField="CatchAllData" ma:web="f247cc86-41ce-4e54-895f-61d07d0375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183A819-51AB-478F-855E-A0B89FBD5DC9}">
  <ds:schemaRefs>
    <ds:schemaRef ds:uri="http://schemas.microsoft.com/office/2006/metadata/properties"/>
    <ds:schemaRef ds:uri="http://purl.org/dc/dcmitype/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elements/1.1/"/>
    <ds:schemaRef ds:uri="http://schemas.openxmlformats.org/package/2006/metadata/core-properties"/>
    <ds:schemaRef ds:uri="1d00e4ba-cf8a-4136-899f-7a38fabc35ab"/>
    <ds:schemaRef ds:uri="1bdc9592-e98a-44ce-b96f-0a690d7aee69"/>
    <ds:schemaRef ds:uri="b9e4ffd2-11a3-4315-8fd4-c6542e1deaf7"/>
    <ds:schemaRef ds:uri="3b09daa4-2b5c-46ef-bcca-ab61debba46f"/>
    <ds:schemaRef ds:uri="c70c37c3-6fe6-4316-bb79-6c535e774478"/>
    <ds:schemaRef ds:uri="f247cc86-41ce-4e54-895f-61d07d03751e"/>
  </ds:schemaRefs>
</ds:datastoreItem>
</file>

<file path=customXml/itemProps2.xml><?xml version="1.0" encoding="utf-8"?>
<ds:datastoreItem xmlns:ds="http://schemas.openxmlformats.org/officeDocument/2006/customXml" ds:itemID="{41105344-4E4D-4A05-949C-9504BEA8045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AD5F58B-4B4E-4AC2-BA02-FF69CD43AD0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0c37c3-6fe6-4316-bb79-6c535e774478"/>
    <ds:schemaRef ds:uri="f247cc86-41ce-4e54-895f-61d07d0375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7</Words>
  <Application>Microsoft Macintosh PowerPoint</Application>
  <PresentationFormat>Widescreen</PresentationFormat>
  <Paragraphs>21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rial</vt:lpstr>
      <vt:lpstr>Calibri</vt:lpstr>
      <vt:lpstr>Symbol</vt:lpstr>
      <vt:lpstr>Wingdings</vt:lpstr>
      <vt:lpstr>Senacor 2023 (Dark)</vt:lpstr>
      <vt:lpstr>Senacor 2023 (Light)</vt:lpstr>
      <vt:lpstr>1_Senacor 2023 (Light)</vt:lpstr>
      <vt:lpstr>think-cell Folie</vt:lpstr>
      <vt:lpstr>Name</vt:lpstr>
      <vt:lpstr>Frederik Tischbein</vt:lpstr>
      <vt:lpstr>Frederik Tischbei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nacor Präsentation</dc:title>
  <dc:subject>IT-Beratung</dc:subject>
  <dc:creator>Brusch, Ulf</dc:creator>
  <cp:keywords>Senacor Farbschema</cp:keywords>
  <cp:lastModifiedBy>Heinrich, Daniel</cp:lastModifiedBy>
  <cp:revision>15</cp:revision>
  <cp:lastPrinted>2023-09-29T10:30:56Z</cp:lastPrinted>
  <dcterms:created xsi:type="dcterms:W3CDTF">2023-05-16T12:46:23Z</dcterms:created>
  <dcterms:modified xsi:type="dcterms:W3CDTF">2025-06-03T10:47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369A2B9592B44C89D12E69AC892C99</vt:lpwstr>
  </property>
  <property fmtid="{D5CDD505-2E9C-101B-9397-08002B2CF9AE}" pid="3" name="MediaServiceImageTags">
    <vt:lpwstr/>
  </property>
  <property fmtid="{D5CDD505-2E9C-101B-9397-08002B2CF9AE}" pid="4" name="Order">
    <vt:r8>783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TriggerFlowInfo">
    <vt:lpwstr/>
  </property>
</Properties>
</file>